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3388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4" orient="horz" pos="327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7D"/>
    <a:srgbClr val="B8C9E3"/>
    <a:srgbClr val="A1F2FF"/>
    <a:srgbClr val="CEE6F3"/>
    <a:srgbClr val="1990D4"/>
    <a:srgbClr val="00003F"/>
    <a:srgbClr val="00B3E3"/>
    <a:srgbClr val="000099"/>
    <a:srgbClr val="DFECFD"/>
    <a:srgbClr val="F5FA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850" autoAdjust="0"/>
    <p:restoredTop sz="96201" autoAdjust="0"/>
  </p:normalViewPr>
  <p:slideViewPr>
    <p:cSldViewPr snapToGrid="0">
      <p:cViewPr varScale="1">
        <p:scale>
          <a:sx n="106" d="100"/>
          <a:sy n="106" d="100"/>
        </p:scale>
        <p:origin x="486" y="96"/>
      </p:cViewPr>
      <p:guideLst>
        <p:guide pos="3840"/>
        <p:guide orient="horz" pos="327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1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C30DC546-A160-40B6-92C2-C2C8C7C6873D}" type="datetimeFigureOut">
              <a:rPr lang="en-US" smtClean="0"/>
              <a:pPr/>
              <a:t>4/6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DD1A2537-3EE0-4E98-9EF3-DEFAB0CB95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1881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1A2537-3EE0-4E98-9EF3-DEFAB0CB953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161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1519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44686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0083614-B309-4FBC-B91E-FE617CD6F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16A2D-842B-4196-AEF8-54FBA593F7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FF4693-79F5-4AA8-9D0A-F8E292CE2C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8586E3-F188-4180-8D43-CF184C61D618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42E669-5AD1-4712-9719-9C97D81B82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856B2-33AA-4803-B4CE-B642517526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53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31" r:id="rId2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50">
            <a:extLst>
              <a:ext uri="{FF2B5EF4-FFF2-40B4-BE49-F238E27FC236}">
                <a16:creationId xmlns:a16="http://schemas.microsoft.com/office/drawing/2014/main" id="{0D9CA84A-AB1C-49F9-916F-F90D5C07B8B4}"/>
              </a:ext>
            </a:extLst>
          </p:cNvPr>
          <p:cNvGrpSpPr/>
          <p:nvPr/>
        </p:nvGrpSpPr>
        <p:grpSpPr>
          <a:xfrm>
            <a:off x="2877270" y="2499290"/>
            <a:ext cx="6437461" cy="1958413"/>
            <a:chOff x="2775229" y="2499290"/>
            <a:chExt cx="6437461" cy="1958413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F9CF9654-A58A-471D-A553-278444532320}"/>
                </a:ext>
              </a:extLst>
            </p:cNvPr>
            <p:cNvGrpSpPr/>
            <p:nvPr/>
          </p:nvGrpSpPr>
          <p:grpSpPr>
            <a:xfrm flipH="1">
              <a:off x="7391578" y="2499290"/>
              <a:ext cx="1821112" cy="1958413"/>
              <a:chOff x="2775229" y="2499290"/>
              <a:chExt cx="1821112" cy="1958413"/>
            </a:xfrm>
          </p:grpSpPr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FAB1ADB3-187D-4F18-8C9F-EDFF93384C6A}"/>
                  </a:ext>
                </a:extLst>
              </p:cNvPr>
              <p:cNvGrpSpPr/>
              <p:nvPr/>
            </p:nvGrpSpPr>
            <p:grpSpPr>
              <a:xfrm>
                <a:off x="3393113" y="2499290"/>
                <a:ext cx="1203228" cy="589069"/>
                <a:chOff x="2775229" y="3868634"/>
                <a:chExt cx="1203228" cy="589069"/>
              </a:xfrm>
            </p:grpSpPr>
            <p:cxnSp>
              <p:nvCxnSpPr>
                <p:cNvPr id="49" name="Straight Connector 48">
                  <a:extLst>
                    <a:ext uri="{FF2B5EF4-FFF2-40B4-BE49-F238E27FC236}">
                      <a16:creationId xmlns:a16="http://schemas.microsoft.com/office/drawing/2014/main" id="{ECD83C80-DA58-4FF7-A0DF-5C2BBF4FE65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3179461" y="3464403"/>
                  <a:ext cx="0" cy="808463"/>
                </a:xfrm>
                <a:prstGeom prst="line">
                  <a:avLst/>
                </a:prstGeom>
                <a:ln w="12700">
                  <a:solidFill>
                    <a:schemeClr val="bg1">
                      <a:lumMod val="85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Straight Connector 49">
                  <a:extLst>
                    <a:ext uri="{FF2B5EF4-FFF2-40B4-BE49-F238E27FC236}">
                      <a16:creationId xmlns:a16="http://schemas.microsoft.com/office/drawing/2014/main" id="{2F57F32E-4FFF-4E28-8E3D-564076EBC18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3601120" y="3868634"/>
                  <a:ext cx="377337" cy="589069"/>
                </a:xfrm>
                <a:prstGeom prst="line">
                  <a:avLst/>
                </a:prstGeom>
                <a:ln w="12700">
                  <a:solidFill>
                    <a:schemeClr val="bg1">
                      <a:lumMod val="85000"/>
                    </a:schemeClr>
                  </a:solidFill>
                  <a:prstDash val="sysDash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C4CCF471-440A-4B02-A486-98C61E38765E}"/>
                  </a:ext>
                </a:extLst>
              </p:cNvPr>
              <p:cNvGrpSpPr/>
              <p:nvPr/>
            </p:nvGrpSpPr>
            <p:grpSpPr>
              <a:xfrm>
                <a:off x="2775229" y="3868634"/>
                <a:ext cx="1203228" cy="589069"/>
                <a:chOff x="2775229" y="3868634"/>
                <a:chExt cx="1203228" cy="589069"/>
              </a:xfrm>
            </p:grpSpPr>
            <p:cxnSp>
              <p:nvCxnSpPr>
                <p:cNvPr id="47" name="Straight Connector 46">
                  <a:extLst>
                    <a:ext uri="{FF2B5EF4-FFF2-40B4-BE49-F238E27FC236}">
                      <a16:creationId xmlns:a16="http://schemas.microsoft.com/office/drawing/2014/main" id="{FB8D8A06-CFCB-44FB-A452-1DCF59E6877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3179461" y="3464403"/>
                  <a:ext cx="0" cy="808463"/>
                </a:xfrm>
                <a:prstGeom prst="line">
                  <a:avLst/>
                </a:prstGeom>
                <a:ln w="12700">
                  <a:solidFill>
                    <a:schemeClr val="bg1">
                      <a:lumMod val="85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Straight Connector 47">
                  <a:extLst>
                    <a:ext uri="{FF2B5EF4-FFF2-40B4-BE49-F238E27FC236}">
                      <a16:creationId xmlns:a16="http://schemas.microsoft.com/office/drawing/2014/main" id="{6E84B2C4-7861-4567-B447-B8059C1588B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3601120" y="3868634"/>
                  <a:ext cx="377337" cy="589069"/>
                </a:xfrm>
                <a:prstGeom prst="line">
                  <a:avLst/>
                </a:prstGeom>
                <a:ln w="12700">
                  <a:solidFill>
                    <a:schemeClr val="bg1">
                      <a:lumMod val="85000"/>
                    </a:schemeClr>
                  </a:solidFill>
                  <a:prstDash val="sysDash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7DA8EE26-FC8D-446E-93E4-A5953C44004B}"/>
                </a:ext>
              </a:extLst>
            </p:cNvPr>
            <p:cNvGrpSpPr/>
            <p:nvPr/>
          </p:nvGrpSpPr>
          <p:grpSpPr>
            <a:xfrm>
              <a:off x="2775229" y="2499290"/>
              <a:ext cx="1821112" cy="1958413"/>
              <a:chOff x="2775229" y="2499290"/>
              <a:chExt cx="1821112" cy="1958413"/>
            </a:xfrm>
          </p:grpSpPr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35CCBDFE-8A9C-4497-A50B-184D75B3241D}"/>
                  </a:ext>
                </a:extLst>
              </p:cNvPr>
              <p:cNvGrpSpPr/>
              <p:nvPr/>
            </p:nvGrpSpPr>
            <p:grpSpPr>
              <a:xfrm>
                <a:off x="3393113" y="2499290"/>
                <a:ext cx="1203228" cy="589069"/>
                <a:chOff x="2775229" y="3868634"/>
                <a:chExt cx="1203228" cy="589069"/>
              </a:xfrm>
            </p:grpSpPr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84017EC5-D94B-4616-BE24-D990FBBAD8B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3179461" y="3464403"/>
                  <a:ext cx="0" cy="808463"/>
                </a:xfrm>
                <a:prstGeom prst="line">
                  <a:avLst/>
                </a:prstGeom>
                <a:ln w="12700">
                  <a:solidFill>
                    <a:schemeClr val="bg1">
                      <a:lumMod val="85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Connector 26">
                  <a:extLst>
                    <a:ext uri="{FF2B5EF4-FFF2-40B4-BE49-F238E27FC236}">
                      <a16:creationId xmlns:a16="http://schemas.microsoft.com/office/drawing/2014/main" id="{8D9045F7-6233-41DB-8C46-E55B4A71BD0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3601120" y="3868634"/>
                  <a:ext cx="377337" cy="589069"/>
                </a:xfrm>
                <a:prstGeom prst="line">
                  <a:avLst/>
                </a:prstGeom>
                <a:ln w="12700">
                  <a:solidFill>
                    <a:schemeClr val="bg1">
                      <a:lumMod val="85000"/>
                    </a:schemeClr>
                  </a:solidFill>
                  <a:prstDash val="sysDash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2FC07F7C-5D5D-472B-9BCD-BD536BC0847F}"/>
                  </a:ext>
                </a:extLst>
              </p:cNvPr>
              <p:cNvGrpSpPr/>
              <p:nvPr/>
            </p:nvGrpSpPr>
            <p:grpSpPr>
              <a:xfrm>
                <a:off x="2775229" y="3868634"/>
                <a:ext cx="1203228" cy="589069"/>
                <a:chOff x="2775229" y="3868634"/>
                <a:chExt cx="1203228" cy="589069"/>
              </a:xfrm>
            </p:grpSpPr>
            <p:cxnSp>
              <p:nvCxnSpPr>
                <p:cNvPr id="18" name="Straight Connector 17">
                  <a:extLst>
                    <a:ext uri="{FF2B5EF4-FFF2-40B4-BE49-F238E27FC236}">
                      <a16:creationId xmlns:a16="http://schemas.microsoft.com/office/drawing/2014/main" id="{0C633B53-AD46-4540-BD88-F804B02183C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3179461" y="3464403"/>
                  <a:ext cx="0" cy="808463"/>
                </a:xfrm>
                <a:prstGeom prst="line">
                  <a:avLst/>
                </a:prstGeom>
                <a:ln w="12700">
                  <a:solidFill>
                    <a:schemeClr val="bg1">
                      <a:lumMod val="85000"/>
                    </a:schemeClr>
                  </a:solidFill>
                  <a:prstDash val="sysDash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1D8E95E4-079C-49FF-A916-7588D8C71FC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3601120" y="3868634"/>
                  <a:ext cx="377337" cy="589069"/>
                </a:xfrm>
                <a:prstGeom prst="line">
                  <a:avLst/>
                </a:prstGeom>
                <a:ln w="12700">
                  <a:solidFill>
                    <a:schemeClr val="bg1">
                      <a:lumMod val="85000"/>
                    </a:schemeClr>
                  </a:solidFill>
                  <a:prstDash val="sysDash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24B8DC9-1A26-40C8-BAF4-40E2377BA7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 Her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5B1A282-ACD9-44A4-B4CC-72980BC5D469}"/>
              </a:ext>
            </a:extLst>
          </p:cNvPr>
          <p:cNvGrpSpPr/>
          <p:nvPr/>
        </p:nvGrpSpPr>
        <p:grpSpPr>
          <a:xfrm>
            <a:off x="585993" y="3642633"/>
            <a:ext cx="2289512" cy="918552"/>
            <a:chOff x="585993" y="3661683"/>
            <a:chExt cx="2289512" cy="918552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9DD5C645-1202-452C-8419-D8C36A721027}"/>
                </a:ext>
              </a:extLst>
            </p:cNvPr>
            <p:cNvSpPr txBox="1"/>
            <p:nvPr/>
          </p:nvSpPr>
          <p:spPr>
            <a:xfrm>
              <a:off x="585993" y="3933904"/>
              <a:ext cx="228951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d-ID" sz="1200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Lorem ipsum dolor sit amet, consectetuer adipiscing elit, sed diam nonummy. 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B1F4D8D-98D3-492E-9B86-7A851F13B0C3}"/>
                </a:ext>
              </a:extLst>
            </p:cNvPr>
            <p:cNvSpPr txBox="1"/>
            <p:nvPr/>
          </p:nvSpPr>
          <p:spPr>
            <a:xfrm>
              <a:off x="585993" y="3661683"/>
              <a:ext cx="21203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d-ID" sz="1600" b="1" dirty="0">
                  <a:solidFill>
                    <a:schemeClr val="tx2"/>
                  </a:solidFill>
                  <a:latin typeface="+mj-lt"/>
                </a:rPr>
                <a:t>Insert title here</a:t>
              </a:r>
            </a:p>
          </p:txBody>
        </p:sp>
      </p:grpSp>
      <p:grpSp>
        <p:nvGrpSpPr>
          <p:cNvPr id="3" name="Group 4">
            <a:extLst>
              <a:ext uri="{FF2B5EF4-FFF2-40B4-BE49-F238E27FC236}">
                <a16:creationId xmlns:a16="http://schemas.microsoft.com/office/drawing/2014/main" id="{2C460859-EA07-4BFC-A85F-551FA8EA3DE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26200" y="2179044"/>
            <a:ext cx="4739600" cy="4678956"/>
            <a:chOff x="2195" y="446"/>
            <a:chExt cx="3517" cy="3472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6F8B0E13-4CCC-4DE7-927E-EF21728EE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5" y="1836"/>
              <a:ext cx="1755" cy="758"/>
            </a:xfrm>
            <a:custGeom>
              <a:avLst/>
              <a:gdLst>
                <a:gd name="T0" fmla="*/ 124 w 264"/>
                <a:gd name="T1" fmla="*/ 0 h 114"/>
                <a:gd name="T2" fmla="*/ 0 w 264"/>
                <a:gd name="T3" fmla="*/ 59 h 114"/>
                <a:gd name="T4" fmla="*/ 133 w 264"/>
                <a:gd name="T5" fmla="*/ 114 h 114"/>
                <a:gd name="T6" fmla="*/ 264 w 264"/>
                <a:gd name="T7" fmla="*/ 54 h 114"/>
                <a:gd name="T8" fmla="*/ 264 w 264"/>
                <a:gd name="T9" fmla="*/ 54 h 114"/>
                <a:gd name="T10" fmla="*/ 256 w 264"/>
                <a:gd name="T11" fmla="*/ 55 h 114"/>
                <a:gd name="T12" fmla="*/ 124 w 264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4" h="114">
                  <a:moveTo>
                    <a:pt x="124" y="0"/>
                  </a:moveTo>
                  <a:cubicBezTo>
                    <a:pt x="50" y="5"/>
                    <a:pt x="0" y="59"/>
                    <a:pt x="0" y="59"/>
                  </a:cubicBezTo>
                  <a:cubicBezTo>
                    <a:pt x="49" y="100"/>
                    <a:pt x="94" y="114"/>
                    <a:pt x="133" y="114"/>
                  </a:cubicBezTo>
                  <a:cubicBezTo>
                    <a:pt x="213" y="114"/>
                    <a:pt x="264" y="54"/>
                    <a:pt x="264" y="54"/>
                  </a:cubicBezTo>
                  <a:cubicBezTo>
                    <a:pt x="264" y="54"/>
                    <a:pt x="264" y="54"/>
                    <a:pt x="264" y="54"/>
                  </a:cubicBezTo>
                  <a:cubicBezTo>
                    <a:pt x="264" y="54"/>
                    <a:pt x="261" y="55"/>
                    <a:pt x="256" y="55"/>
                  </a:cubicBezTo>
                  <a:cubicBezTo>
                    <a:pt x="235" y="55"/>
                    <a:pt x="171" y="50"/>
                    <a:pt x="124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783675CD-42C9-4C9F-B879-E20D3FEB1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0" y="985"/>
              <a:ext cx="1263" cy="1210"/>
            </a:xfrm>
            <a:custGeom>
              <a:avLst/>
              <a:gdLst>
                <a:gd name="T0" fmla="*/ 4 w 190"/>
                <a:gd name="T1" fmla="*/ 0 h 182"/>
                <a:gd name="T2" fmla="*/ 0 w 190"/>
                <a:gd name="T3" fmla="*/ 0 h 182"/>
                <a:gd name="T4" fmla="*/ 51 w 190"/>
                <a:gd name="T5" fmla="*/ 128 h 182"/>
                <a:gd name="T6" fmla="*/ 61 w 190"/>
                <a:gd name="T7" fmla="*/ 128 h 182"/>
                <a:gd name="T8" fmla="*/ 190 w 190"/>
                <a:gd name="T9" fmla="*/ 182 h 182"/>
                <a:gd name="T10" fmla="*/ 130 w 190"/>
                <a:gd name="T11" fmla="*/ 46 h 182"/>
                <a:gd name="T12" fmla="*/ 4 w 190"/>
                <a:gd name="T13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182">
                  <a:moveTo>
                    <a:pt x="4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6" y="61"/>
                    <a:pt x="26" y="101"/>
                    <a:pt x="51" y="128"/>
                  </a:cubicBezTo>
                  <a:cubicBezTo>
                    <a:pt x="55" y="128"/>
                    <a:pt x="58" y="128"/>
                    <a:pt x="61" y="128"/>
                  </a:cubicBezTo>
                  <a:cubicBezTo>
                    <a:pt x="99" y="128"/>
                    <a:pt x="143" y="142"/>
                    <a:pt x="190" y="182"/>
                  </a:cubicBezTo>
                  <a:cubicBezTo>
                    <a:pt x="185" y="177"/>
                    <a:pt x="128" y="125"/>
                    <a:pt x="130" y="46"/>
                  </a:cubicBezTo>
                  <a:cubicBezTo>
                    <a:pt x="81" y="3"/>
                    <a:pt x="19" y="0"/>
                    <a:pt x="4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48DE05FE-849F-4F58-A235-7F81D326D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9" y="1836"/>
              <a:ext cx="931" cy="366"/>
            </a:xfrm>
            <a:custGeom>
              <a:avLst/>
              <a:gdLst>
                <a:gd name="T0" fmla="*/ 10 w 140"/>
                <a:gd name="T1" fmla="*/ 0 h 55"/>
                <a:gd name="T2" fmla="*/ 0 w 140"/>
                <a:gd name="T3" fmla="*/ 0 h 55"/>
                <a:gd name="T4" fmla="*/ 132 w 140"/>
                <a:gd name="T5" fmla="*/ 55 h 55"/>
                <a:gd name="T6" fmla="*/ 140 w 140"/>
                <a:gd name="T7" fmla="*/ 54 h 55"/>
                <a:gd name="T8" fmla="*/ 140 w 140"/>
                <a:gd name="T9" fmla="*/ 54 h 55"/>
                <a:gd name="T10" fmla="*/ 139 w 140"/>
                <a:gd name="T11" fmla="*/ 54 h 55"/>
                <a:gd name="T12" fmla="*/ 10 w 140"/>
                <a:gd name="T1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" h="55">
                  <a:moveTo>
                    <a:pt x="10" y="0"/>
                  </a:moveTo>
                  <a:cubicBezTo>
                    <a:pt x="7" y="0"/>
                    <a:pt x="4" y="0"/>
                    <a:pt x="0" y="0"/>
                  </a:cubicBezTo>
                  <a:cubicBezTo>
                    <a:pt x="47" y="50"/>
                    <a:pt x="111" y="55"/>
                    <a:pt x="132" y="55"/>
                  </a:cubicBezTo>
                  <a:cubicBezTo>
                    <a:pt x="137" y="55"/>
                    <a:pt x="140" y="54"/>
                    <a:pt x="140" y="54"/>
                  </a:cubicBezTo>
                  <a:cubicBezTo>
                    <a:pt x="140" y="54"/>
                    <a:pt x="140" y="54"/>
                    <a:pt x="140" y="54"/>
                  </a:cubicBezTo>
                  <a:cubicBezTo>
                    <a:pt x="140" y="54"/>
                    <a:pt x="140" y="54"/>
                    <a:pt x="139" y="54"/>
                  </a:cubicBezTo>
                  <a:cubicBezTo>
                    <a:pt x="92" y="14"/>
                    <a:pt x="48" y="0"/>
                    <a:pt x="10" y="0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65CDC295-353F-459D-B329-DA85D4C01D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5" y="446"/>
              <a:ext cx="751" cy="1749"/>
            </a:xfrm>
            <a:custGeom>
              <a:avLst/>
              <a:gdLst>
                <a:gd name="T0" fmla="*/ 53 w 113"/>
                <a:gd name="T1" fmla="*/ 0 h 263"/>
                <a:gd name="T2" fmla="*/ 0 w 113"/>
                <a:gd name="T3" fmla="*/ 127 h 263"/>
                <a:gd name="T4" fmla="*/ 61 w 113"/>
                <a:gd name="T5" fmla="*/ 263 h 263"/>
                <a:gd name="T6" fmla="*/ 113 w 113"/>
                <a:gd name="T7" fmla="*/ 123 h 263"/>
                <a:gd name="T8" fmla="*/ 53 w 113"/>
                <a:gd name="T9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263">
                  <a:moveTo>
                    <a:pt x="53" y="0"/>
                  </a:moveTo>
                  <a:cubicBezTo>
                    <a:pt x="15" y="47"/>
                    <a:pt x="1" y="90"/>
                    <a:pt x="0" y="127"/>
                  </a:cubicBezTo>
                  <a:cubicBezTo>
                    <a:pt x="30" y="154"/>
                    <a:pt x="55" y="196"/>
                    <a:pt x="61" y="263"/>
                  </a:cubicBezTo>
                  <a:cubicBezTo>
                    <a:pt x="60" y="255"/>
                    <a:pt x="56" y="178"/>
                    <a:pt x="113" y="123"/>
                  </a:cubicBezTo>
                  <a:cubicBezTo>
                    <a:pt x="108" y="49"/>
                    <a:pt x="53" y="0"/>
                    <a:pt x="53" y="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D7DE190C-4E24-48B0-9FEF-F8AF89D19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1" y="1291"/>
              <a:ext cx="419" cy="904"/>
            </a:xfrm>
            <a:custGeom>
              <a:avLst/>
              <a:gdLst>
                <a:gd name="T0" fmla="*/ 2 w 63"/>
                <a:gd name="T1" fmla="*/ 0 h 136"/>
                <a:gd name="T2" fmla="*/ 62 w 63"/>
                <a:gd name="T3" fmla="*/ 136 h 136"/>
                <a:gd name="T4" fmla="*/ 63 w 63"/>
                <a:gd name="T5" fmla="*/ 136 h 136"/>
                <a:gd name="T6" fmla="*/ 63 w 63"/>
                <a:gd name="T7" fmla="*/ 136 h 136"/>
                <a:gd name="T8" fmla="*/ 63 w 63"/>
                <a:gd name="T9" fmla="*/ 136 h 136"/>
                <a:gd name="T10" fmla="*/ 63 w 63"/>
                <a:gd name="T11" fmla="*/ 136 h 136"/>
                <a:gd name="T12" fmla="*/ 2 w 63"/>
                <a:gd name="T1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36">
                  <a:moveTo>
                    <a:pt x="2" y="0"/>
                  </a:moveTo>
                  <a:cubicBezTo>
                    <a:pt x="0" y="79"/>
                    <a:pt x="57" y="131"/>
                    <a:pt x="62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57" y="69"/>
                    <a:pt x="32" y="27"/>
                    <a:pt x="2" y="0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2308E1A0-79E2-401C-9865-1C2499F36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3" y="2195"/>
              <a:ext cx="7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C0D9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2BAC23D4-4810-4D47-B65E-E0AEBA0D8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0" y="912"/>
              <a:ext cx="1223" cy="1283"/>
            </a:xfrm>
            <a:custGeom>
              <a:avLst/>
              <a:gdLst>
                <a:gd name="T0" fmla="*/ 179 w 184"/>
                <a:gd name="T1" fmla="*/ 0 h 193"/>
                <a:gd name="T2" fmla="*/ 52 w 184"/>
                <a:gd name="T3" fmla="*/ 53 h 193"/>
                <a:gd name="T4" fmla="*/ 0 w 184"/>
                <a:gd name="T5" fmla="*/ 193 h 193"/>
                <a:gd name="T6" fmla="*/ 133 w 184"/>
                <a:gd name="T7" fmla="*/ 130 h 193"/>
                <a:gd name="T8" fmla="*/ 135 w 184"/>
                <a:gd name="T9" fmla="*/ 130 h 193"/>
                <a:gd name="T10" fmla="*/ 179 w 184"/>
                <a:gd name="T11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193">
                  <a:moveTo>
                    <a:pt x="179" y="0"/>
                  </a:moveTo>
                  <a:cubicBezTo>
                    <a:pt x="119" y="7"/>
                    <a:pt x="79" y="28"/>
                    <a:pt x="52" y="53"/>
                  </a:cubicBezTo>
                  <a:cubicBezTo>
                    <a:pt x="55" y="94"/>
                    <a:pt x="43" y="142"/>
                    <a:pt x="0" y="193"/>
                  </a:cubicBezTo>
                  <a:cubicBezTo>
                    <a:pt x="5" y="187"/>
                    <a:pt x="55" y="130"/>
                    <a:pt x="133" y="130"/>
                  </a:cubicBezTo>
                  <a:cubicBezTo>
                    <a:pt x="134" y="130"/>
                    <a:pt x="135" y="130"/>
                    <a:pt x="135" y="130"/>
                  </a:cubicBezTo>
                  <a:cubicBezTo>
                    <a:pt x="184" y="74"/>
                    <a:pt x="179" y="0"/>
                    <a:pt x="179" y="0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756AB7E0-FAEB-44CB-A298-ABB5598E2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" y="1264"/>
              <a:ext cx="399" cy="931"/>
            </a:xfrm>
            <a:custGeom>
              <a:avLst/>
              <a:gdLst>
                <a:gd name="T0" fmla="*/ 57 w 60"/>
                <a:gd name="T1" fmla="*/ 0 h 140"/>
                <a:gd name="T2" fmla="*/ 5 w 60"/>
                <a:gd name="T3" fmla="*/ 140 h 140"/>
                <a:gd name="T4" fmla="*/ 5 w 60"/>
                <a:gd name="T5" fmla="*/ 140 h 140"/>
                <a:gd name="T6" fmla="*/ 5 w 60"/>
                <a:gd name="T7" fmla="*/ 140 h 140"/>
                <a:gd name="T8" fmla="*/ 5 w 60"/>
                <a:gd name="T9" fmla="*/ 140 h 140"/>
                <a:gd name="T10" fmla="*/ 5 w 60"/>
                <a:gd name="T11" fmla="*/ 140 h 140"/>
                <a:gd name="T12" fmla="*/ 5 w 60"/>
                <a:gd name="T13" fmla="*/ 140 h 140"/>
                <a:gd name="T14" fmla="*/ 5 w 60"/>
                <a:gd name="T15" fmla="*/ 140 h 140"/>
                <a:gd name="T16" fmla="*/ 57 w 60"/>
                <a:gd name="T17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140">
                  <a:moveTo>
                    <a:pt x="57" y="0"/>
                  </a:moveTo>
                  <a:cubicBezTo>
                    <a:pt x="0" y="55"/>
                    <a:pt x="4" y="132"/>
                    <a:pt x="5" y="140"/>
                  </a:cubicBezTo>
                  <a:cubicBezTo>
                    <a:pt x="5" y="140"/>
                    <a:pt x="5" y="140"/>
                    <a:pt x="5" y="140"/>
                  </a:cubicBezTo>
                  <a:cubicBezTo>
                    <a:pt x="5" y="140"/>
                    <a:pt x="5" y="140"/>
                    <a:pt x="5" y="140"/>
                  </a:cubicBezTo>
                  <a:cubicBezTo>
                    <a:pt x="5" y="140"/>
                    <a:pt x="5" y="140"/>
                    <a:pt x="5" y="140"/>
                  </a:cubicBezTo>
                  <a:cubicBezTo>
                    <a:pt x="5" y="140"/>
                    <a:pt x="5" y="140"/>
                    <a:pt x="5" y="140"/>
                  </a:cubicBezTo>
                  <a:cubicBezTo>
                    <a:pt x="5" y="140"/>
                    <a:pt x="5" y="140"/>
                    <a:pt x="5" y="140"/>
                  </a:cubicBezTo>
                  <a:cubicBezTo>
                    <a:pt x="5" y="140"/>
                    <a:pt x="5" y="140"/>
                    <a:pt x="5" y="140"/>
                  </a:cubicBezTo>
                  <a:cubicBezTo>
                    <a:pt x="48" y="89"/>
                    <a:pt x="60" y="41"/>
                    <a:pt x="57" y="0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F96D408E-48A9-428A-8B2F-5FE0685C7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0" y="219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9FCD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80AE8FE4-1AD2-4A77-9728-F05D6B7FE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0" y="1776"/>
              <a:ext cx="1748" cy="758"/>
            </a:xfrm>
            <a:custGeom>
              <a:avLst/>
              <a:gdLst>
                <a:gd name="T0" fmla="*/ 135 w 263"/>
                <a:gd name="T1" fmla="*/ 0 h 114"/>
                <a:gd name="T2" fmla="*/ 0 w 263"/>
                <a:gd name="T3" fmla="*/ 63 h 114"/>
                <a:gd name="T4" fmla="*/ 127 w 263"/>
                <a:gd name="T5" fmla="*/ 114 h 114"/>
                <a:gd name="T6" fmla="*/ 263 w 263"/>
                <a:gd name="T7" fmla="*/ 52 h 114"/>
                <a:gd name="T8" fmla="*/ 135 w 263"/>
                <a:gd name="T9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3" h="114">
                  <a:moveTo>
                    <a:pt x="135" y="0"/>
                  </a:moveTo>
                  <a:cubicBezTo>
                    <a:pt x="109" y="31"/>
                    <a:pt x="67" y="57"/>
                    <a:pt x="0" y="63"/>
                  </a:cubicBezTo>
                  <a:cubicBezTo>
                    <a:pt x="46" y="101"/>
                    <a:pt x="89" y="114"/>
                    <a:pt x="127" y="114"/>
                  </a:cubicBezTo>
                  <a:cubicBezTo>
                    <a:pt x="209" y="114"/>
                    <a:pt x="263" y="52"/>
                    <a:pt x="263" y="52"/>
                  </a:cubicBezTo>
                  <a:cubicBezTo>
                    <a:pt x="216" y="14"/>
                    <a:pt x="173" y="1"/>
                    <a:pt x="135" y="0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E5B6EEED-CF61-4A76-B888-1B974CC93D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0" y="1776"/>
              <a:ext cx="897" cy="419"/>
            </a:xfrm>
            <a:custGeom>
              <a:avLst/>
              <a:gdLst>
                <a:gd name="T0" fmla="*/ 133 w 135"/>
                <a:gd name="T1" fmla="*/ 0 h 63"/>
                <a:gd name="T2" fmla="*/ 0 w 135"/>
                <a:gd name="T3" fmla="*/ 63 h 63"/>
                <a:gd name="T4" fmla="*/ 0 w 135"/>
                <a:gd name="T5" fmla="*/ 63 h 63"/>
                <a:gd name="T6" fmla="*/ 0 w 135"/>
                <a:gd name="T7" fmla="*/ 63 h 63"/>
                <a:gd name="T8" fmla="*/ 135 w 135"/>
                <a:gd name="T9" fmla="*/ 0 h 63"/>
                <a:gd name="T10" fmla="*/ 133 w 135"/>
                <a:gd name="T11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5" h="63">
                  <a:moveTo>
                    <a:pt x="133" y="0"/>
                  </a:moveTo>
                  <a:cubicBezTo>
                    <a:pt x="55" y="0"/>
                    <a:pt x="5" y="57"/>
                    <a:pt x="0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67" y="57"/>
                    <a:pt x="109" y="31"/>
                    <a:pt x="135" y="0"/>
                  </a:cubicBezTo>
                  <a:cubicBezTo>
                    <a:pt x="135" y="0"/>
                    <a:pt x="134" y="0"/>
                    <a:pt x="133" y="0"/>
                  </a:cubicBez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6">
              <a:extLst>
                <a:ext uri="{FF2B5EF4-FFF2-40B4-BE49-F238E27FC236}">
                  <a16:creationId xmlns:a16="http://schemas.microsoft.com/office/drawing/2014/main" id="{D46A0483-CE66-45A7-BD7A-FFF54A9D96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0" y="219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ABD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47AB338F-30AD-4698-8778-7D79D919BA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2" y="1657"/>
              <a:ext cx="1083" cy="1988"/>
            </a:xfrm>
            <a:custGeom>
              <a:avLst/>
              <a:gdLst>
                <a:gd name="T0" fmla="*/ 130 w 163"/>
                <a:gd name="T1" fmla="*/ 299 h 299"/>
                <a:gd name="T2" fmla="*/ 123 w 163"/>
                <a:gd name="T3" fmla="*/ 132 h 299"/>
                <a:gd name="T4" fmla="*/ 161 w 163"/>
                <a:gd name="T5" fmla="*/ 48 h 299"/>
                <a:gd name="T6" fmla="*/ 143 w 163"/>
                <a:gd name="T7" fmla="*/ 51 h 299"/>
                <a:gd name="T8" fmla="*/ 108 w 163"/>
                <a:gd name="T9" fmla="*/ 75 h 299"/>
                <a:gd name="T10" fmla="*/ 80 w 163"/>
                <a:gd name="T11" fmla="*/ 6 h 299"/>
                <a:gd name="T12" fmla="*/ 76 w 163"/>
                <a:gd name="T13" fmla="*/ 52 h 299"/>
                <a:gd name="T14" fmla="*/ 48 w 163"/>
                <a:gd name="T15" fmla="*/ 33 h 299"/>
                <a:gd name="T16" fmla="*/ 26 w 163"/>
                <a:gd name="T17" fmla="*/ 16 h 299"/>
                <a:gd name="T18" fmla="*/ 51 w 163"/>
                <a:gd name="T19" fmla="*/ 75 h 299"/>
                <a:gd name="T20" fmla="*/ 9 w 163"/>
                <a:gd name="T21" fmla="*/ 35 h 299"/>
                <a:gd name="T22" fmla="*/ 8 w 163"/>
                <a:gd name="T23" fmla="*/ 53 h 299"/>
                <a:gd name="T24" fmla="*/ 42 w 163"/>
                <a:gd name="T25" fmla="*/ 93 h 299"/>
                <a:gd name="T26" fmla="*/ 10 w 163"/>
                <a:gd name="T27" fmla="*/ 75 h 299"/>
                <a:gd name="T28" fmla="*/ 19 w 163"/>
                <a:gd name="T29" fmla="*/ 98 h 299"/>
                <a:gd name="T30" fmla="*/ 71 w 163"/>
                <a:gd name="T31" fmla="*/ 161 h 299"/>
                <a:gd name="T32" fmla="*/ 62 w 163"/>
                <a:gd name="T33" fmla="*/ 299 h 299"/>
                <a:gd name="T34" fmla="*/ 130 w 163"/>
                <a:gd name="T35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3" h="299">
                  <a:moveTo>
                    <a:pt x="130" y="299"/>
                  </a:moveTo>
                  <a:cubicBezTo>
                    <a:pt x="130" y="299"/>
                    <a:pt x="107" y="195"/>
                    <a:pt x="123" y="132"/>
                  </a:cubicBezTo>
                  <a:cubicBezTo>
                    <a:pt x="139" y="70"/>
                    <a:pt x="163" y="57"/>
                    <a:pt x="161" y="48"/>
                  </a:cubicBezTo>
                  <a:cubicBezTo>
                    <a:pt x="159" y="38"/>
                    <a:pt x="147" y="42"/>
                    <a:pt x="143" y="51"/>
                  </a:cubicBezTo>
                  <a:cubicBezTo>
                    <a:pt x="139" y="60"/>
                    <a:pt x="122" y="79"/>
                    <a:pt x="108" y="75"/>
                  </a:cubicBezTo>
                  <a:cubicBezTo>
                    <a:pt x="93" y="72"/>
                    <a:pt x="91" y="12"/>
                    <a:pt x="80" y="6"/>
                  </a:cubicBezTo>
                  <a:cubicBezTo>
                    <a:pt x="69" y="0"/>
                    <a:pt x="73" y="28"/>
                    <a:pt x="76" y="52"/>
                  </a:cubicBezTo>
                  <a:cubicBezTo>
                    <a:pt x="80" y="76"/>
                    <a:pt x="60" y="62"/>
                    <a:pt x="48" y="33"/>
                  </a:cubicBezTo>
                  <a:cubicBezTo>
                    <a:pt x="36" y="4"/>
                    <a:pt x="28" y="12"/>
                    <a:pt x="26" y="16"/>
                  </a:cubicBezTo>
                  <a:cubicBezTo>
                    <a:pt x="25" y="21"/>
                    <a:pt x="53" y="72"/>
                    <a:pt x="51" y="75"/>
                  </a:cubicBezTo>
                  <a:cubicBezTo>
                    <a:pt x="49" y="77"/>
                    <a:pt x="13" y="34"/>
                    <a:pt x="9" y="35"/>
                  </a:cubicBezTo>
                  <a:cubicBezTo>
                    <a:pt x="6" y="36"/>
                    <a:pt x="0" y="40"/>
                    <a:pt x="8" y="53"/>
                  </a:cubicBezTo>
                  <a:cubicBezTo>
                    <a:pt x="17" y="67"/>
                    <a:pt x="44" y="89"/>
                    <a:pt x="42" y="93"/>
                  </a:cubicBezTo>
                  <a:cubicBezTo>
                    <a:pt x="40" y="97"/>
                    <a:pt x="18" y="76"/>
                    <a:pt x="10" y="75"/>
                  </a:cubicBezTo>
                  <a:cubicBezTo>
                    <a:pt x="1" y="75"/>
                    <a:pt x="4" y="87"/>
                    <a:pt x="19" y="98"/>
                  </a:cubicBezTo>
                  <a:cubicBezTo>
                    <a:pt x="34" y="108"/>
                    <a:pt x="70" y="121"/>
                    <a:pt x="71" y="161"/>
                  </a:cubicBezTo>
                  <a:cubicBezTo>
                    <a:pt x="71" y="201"/>
                    <a:pt x="62" y="299"/>
                    <a:pt x="62" y="299"/>
                  </a:cubicBezTo>
                  <a:lnTo>
                    <a:pt x="130" y="299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A67C26DD-D8E5-4F8B-86C4-15B6B46D11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7" y="3173"/>
              <a:ext cx="3125" cy="745"/>
            </a:xfrm>
            <a:custGeom>
              <a:avLst/>
              <a:gdLst>
                <a:gd name="T0" fmla="*/ 470 w 470"/>
                <a:gd name="T1" fmla="*/ 98 h 112"/>
                <a:gd name="T2" fmla="*/ 0 w 470"/>
                <a:gd name="T3" fmla="*/ 112 h 112"/>
                <a:gd name="T4" fmla="*/ 470 w 470"/>
                <a:gd name="T5" fmla="*/ 9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70" h="112">
                  <a:moveTo>
                    <a:pt x="470" y="98"/>
                  </a:moveTo>
                  <a:cubicBezTo>
                    <a:pt x="470" y="98"/>
                    <a:pt x="177" y="57"/>
                    <a:pt x="0" y="112"/>
                  </a:cubicBezTo>
                  <a:cubicBezTo>
                    <a:pt x="0" y="112"/>
                    <a:pt x="198" y="0"/>
                    <a:pt x="470" y="98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7B6BF20-BD95-4C3D-92A3-819C3E4F7087}"/>
              </a:ext>
            </a:extLst>
          </p:cNvPr>
          <p:cNvGrpSpPr/>
          <p:nvPr/>
        </p:nvGrpSpPr>
        <p:grpSpPr>
          <a:xfrm>
            <a:off x="1215979" y="2251221"/>
            <a:ext cx="2289512" cy="918552"/>
            <a:chOff x="585993" y="3661683"/>
            <a:chExt cx="2289512" cy="918552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E503A9B7-C7DF-4363-9D9F-1AE543A494C9}"/>
                </a:ext>
              </a:extLst>
            </p:cNvPr>
            <p:cNvSpPr txBox="1"/>
            <p:nvPr/>
          </p:nvSpPr>
          <p:spPr>
            <a:xfrm>
              <a:off x="585993" y="3933904"/>
              <a:ext cx="228951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d-ID" sz="1200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Lorem ipsum dolor sit amet, consectetuer adipiscing elit, sed diam nonummy. 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EDB066C-94EA-4C47-865D-29A44A6F305B}"/>
                </a:ext>
              </a:extLst>
            </p:cNvPr>
            <p:cNvSpPr txBox="1"/>
            <p:nvPr/>
          </p:nvSpPr>
          <p:spPr>
            <a:xfrm>
              <a:off x="585993" y="3661683"/>
              <a:ext cx="21203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d-ID" sz="1600" b="1" dirty="0">
                  <a:solidFill>
                    <a:schemeClr val="tx2"/>
                  </a:solidFill>
                  <a:latin typeface="+mj-lt"/>
                </a:rPr>
                <a:t>Insert title here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4064C53-870E-4632-8BD0-D3E5FB3B275B}"/>
              </a:ext>
            </a:extLst>
          </p:cNvPr>
          <p:cNvGrpSpPr/>
          <p:nvPr/>
        </p:nvGrpSpPr>
        <p:grpSpPr>
          <a:xfrm>
            <a:off x="4524842" y="1374019"/>
            <a:ext cx="3043939" cy="733886"/>
            <a:chOff x="5035848" y="2403621"/>
            <a:chExt cx="2120303" cy="733886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298E090C-9535-4F97-9243-7753B30A42DF}"/>
                </a:ext>
              </a:extLst>
            </p:cNvPr>
            <p:cNvSpPr txBox="1"/>
            <p:nvPr/>
          </p:nvSpPr>
          <p:spPr>
            <a:xfrm>
              <a:off x="5035849" y="2675842"/>
              <a:ext cx="212030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d-ID" sz="1200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Lorem ipsum dolor sit amet, consectetuer adipiscing elit, sed diam nonummy. 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A6CA7CA8-53A7-4580-806F-78592B1AC9D8}"/>
                </a:ext>
              </a:extLst>
            </p:cNvPr>
            <p:cNvSpPr txBox="1"/>
            <p:nvPr/>
          </p:nvSpPr>
          <p:spPr>
            <a:xfrm>
              <a:off x="5035848" y="2403621"/>
              <a:ext cx="21203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d-ID" sz="1600" b="1" dirty="0">
                  <a:solidFill>
                    <a:schemeClr val="tx2"/>
                  </a:solidFill>
                  <a:latin typeface="+mj-lt"/>
                </a:rPr>
                <a:t>Insert title here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834A096-4B18-4E1A-82E9-8F06C880A685}"/>
              </a:ext>
            </a:extLst>
          </p:cNvPr>
          <p:cNvGrpSpPr/>
          <p:nvPr/>
        </p:nvGrpSpPr>
        <p:grpSpPr>
          <a:xfrm>
            <a:off x="8717339" y="2251221"/>
            <a:ext cx="2289512" cy="918552"/>
            <a:chOff x="585993" y="3661683"/>
            <a:chExt cx="2289512" cy="918552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B77E3CBD-7D86-4E62-8FFC-54EC1A203D5A}"/>
                </a:ext>
              </a:extLst>
            </p:cNvPr>
            <p:cNvSpPr txBox="1"/>
            <p:nvPr/>
          </p:nvSpPr>
          <p:spPr>
            <a:xfrm>
              <a:off x="585993" y="3933904"/>
              <a:ext cx="228951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d-ID" sz="1200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Lorem ipsum dolor sit amet, consectetuer adipiscing elit, sed diam nonummy. 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45167EF-5432-45CC-9E4A-6E0478D35D7D}"/>
                </a:ext>
              </a:extLst>
            </p:cNvPr>
            <p:cNvSpPr txBox="1"/>
            <p:nvPr/>
          </p:nvSpPr>
          <p:spPr>
            <a:xfrm>
              <a:off x="585993" y="3661683"/>
              <a:ext cx="21203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d-ID" sz="1600" b="1" dirty="0">
                  <a:solidFill>
                    <a:schemeClr val="tx2"/>
                  </a:solidFill>
                  <a:latin typeface="+mj-lt"/>
                </a:rPr>
                <a:t>Insert title here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FC6909A-5004-4915-9755-8E819C39B7DE}"/>
              </a:ext>
            </a:extLst>
          </p:cNvPr>
          <p:cNvGrpSpPr/>
          <p:nvPr/>
        </p:nvGrpSpPr>
        <p:grpSpPr>
          <a:xfrm>
            <a:off x="9370591" y="3642633"/>
            <a:ext cx="2289512" cy="918552"/>
            <a:chOff x="585993" y="3661683"/>
            <a:chExt cx="2289512" cy="918552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9FF383BE-D217-482D-9957-A0E67A83BB7E}"/>
                </a:ext>
              </a:extLst>
            </p:cNvPr>
            <p:cNvSpPr txBox="1"/>
            <p:nvPr/>
          </p:nvSpPr>
          <p:spPr>
            <a:xfrm>
              <a:off x="585993" y="3933904"/>
              <a:ext cx="228951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d-ID" sz="1200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Lorem ipsum dolor sit amet, consectetuer adipiscing elit, sed diam nonummy. 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18106EDD-D9AA-4943-9EBD-F9C20ABC5151}"/>
                </a:ext>
              </a:extLst>
            </p:cNvPr>
            <p:cNvSpPr txBox="1"/>
            <p:nvPr/>
          </p:nvSpPr>
          <p:spPr>
            <a:xfrm>
              <a:off x="585993" y="3661683"/>
              <a:ext cx="21203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d-ID" sz="1600" b="1" dirty="0">
                  <a:solidFill>
                    <a:schemeClr val="tx2"/>
                  </a:solidFill>
                  <a:latin typeface="+mj-lt"/>
                </a:rPr>
                <a:t>Insert title here</a:t>
              </a:r>
            </a:p>
          </p:txBody>
        </p:sp>
      </p:grp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15736B43-B66D-4C15-8CE1-45BABCBC2899}"/>
              </a:ext>
            </a:extLst>
          </p:cNvPr>
          <p:cNvSpPr/>
          <p:nvPr/>
        </p:nvSpPr>
        <p:spPr>
          <a:xfrm>
            <a:off x="4255652" y="4392763"/>
            <a:ext cx="336844" cy="336843"/>
          </a:xfrm>
          <a:custGeom>
            <a:avLst/>
            <a:gdLst>
              <a:gd name="connsiteX0" fmla="*/ 567690 w 903926"/>
              <a:gd name="connsiteY0" fmla="*/ 0 h 903922"/>
              <a:gd name="connsiteX1" fmla="*/ 337185 w 903926"/>
              <a:gd name="connsiteY1" fmla="*/ 0 h 903922"/>
              <a:gd name="connsiteX2" fmla="*/ 0 w 903926"/>
              <a:gd name="connsiteY2" fmla="*/ 337185 h 903922"/>
              <a:gd name="connsiteX3" fmla="*/ 0 w 903926"/>
              <a:gd name="connsiteY3" fmla="*/ 566738 h 903922"/>
              <a:gd name="connsiteX4" fmla="*/ 337185 w 903926"/>
              <a:gd name="connsiteY4" fmla="*/ 903923 h 903922"/>
              <a:gd name="connsiteX5" fmla="*/ 566738 w 903926"/>
              <a:gd name="connsiteY5" fmla="*/ 903923 h 903922"/>
              <a:gd name="connsiteX6" fmla="*/ 903923 w 903926"/>
              <a:gd name="connsiteY6" fmla="*/ 566738 h 903922"/>
              <a:gd name="connsiteX7" fmla="*/ 903923 w 903926"/>
              <a:gd name="connsiteY7" fmla="*/ 337185 h 903922"/>
              <a:gd name="connsiteX8" fmla="*/ 567690 w 903926"/>
              <a:gd name="connsiteY8" fmla="*/ 0 h 903922"/>
              <a:gd name="connsiteX9" fmla="*/ 682943 w 903926"/>
              <a:gd name="connsiteY9" fmla="*/ 367665 h 903922"/>
              <a:gd name="connsiteX10" fmla="*/ 422910 w 903926"/>
              <a:gd name="connsiteY10" fmla="*/ 628650 h 903922"/>
              <a:gd name="connsiteX11" fmla="*/ 374333 w 903926"/>
              <a:gd name="connsiteY11" fmla="*/ 628650 h 903922"/>
              <a:gd name="connsiteX12" fmla="*/ 221933 w 903926"/>
              <a:gd name="connsiteY12" fmla="*/ 476250 h 903922"/>
              <a:gd name="connsiteX13" fmla="*/ 221933 w 903926"/>
              <a:gd name="connsiteY13" fmla="*/ 427673 h 903922"/>
              <a:gd name="connsiteX14" fmla="*/ 264795 w 903926"/>
              <a:gd name="connsiteY14" fmla="*/ 384810 h 903922"/>
              <a:gd name="connsiteX15" fmla="*/ 313373 w 903926"/>
              <a:gd name="connsiteY15" fmla="*/ 384810 h 903922"/>
              <a:gd name="connsiteX16" fmla="*/ 387668 w 903926"/>
              <a:gd name="connsiteY16" fmla="*/ 459105 h 903922"/>
              <a:gd name="connsiteX17" fmla="*/ 409575 w 903926"/>
              <a:gd name="connsiteY17" fmla="*/ 459105 h 903922"/>
              <a:gd name="connsiteX18" fmla="*/ 591503 w 903926"/>
              <a:gd name="connsiteY18" fmla="*/ 277178 h 903922"/>
              <a:gd name="connsiteX19" fmla="*/ 640080 w 903926"/>
              <a:gd name="connsiteY19" fmla="*/ 277178 h 903922"/>
              <a:gd name="connsiteX20" fmla="*/ 682943 w 903926"/>
              <a:gd name="connsiteY20" fmla="*/ 320040 h 903922"/>
              <a:gd name="connsiteX21" fmla="*/ 682943 w 903926"/>
              <a:gd name="connsiteY21" fmla="*/ 367665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903926" h="903922">
                <a:moveTo>
                  <a:pt x="567690" y="0"/>
                </a:moveTo>
                <a:lnTo>
                  <a:pt x="337185" y="0"/>
                </a:lnTo>
                <a:cubicBezTo>
                  <a:pt x="151448" y="0"/>
                  <a:pt x="0" y="151448"/>
                  <a:pt x="0" y="337185"/>
                </a:cubicBezTo>
                <a:lnTo>
                  <a:pt x="0" y="566738"/>
                </a:lnTo>
                <a:cubicBezTo>
                  <a:pt x="0" y="752475"/>
                  <a:pt x="151448" y="903923"/>
                  <a:pt x="337185" y="903923"/>
                </a:cubicBezTo>
                <a:lnTo>
                  <a:pt x="566738" y="903923"/>
                </a:lnTo>
                <a:cubicBezTo>
                  <a:pt x="752475" y="903923"/>
                  <a:pt x="903923" y="752475"/>
                  <a:pt x="903923" y="566738"/>
                </a:cubicBezTo>
                <a:lnTo>
                  <a:pt x="903923" y="337185"/>
                </a:lnTo>
                <a:cubicBezTo>
                  <a:pt x="904875" y="151448"/>
                  <a:pt x="753428" y="0"/>
                  <a:pt x="567690" y="0"/>
                </a:cubicBezTo>
                <a:close/>
                <a:moveTo>
                  <a:pt x="682943" y="367665"/>
                </a:moveTo>
                <a:lnTo>
                  <a:pt x="422910" y="628650"/>
                </a:lnTo>
                <a:cubicBezTo>
                  <a:pt x="409575" y="641985"/>
                  <a:pt x="387668" y="641985"/>
                  <a:pt x="374333" y="628650"/>
                </a:cubicBezTo>
                <a:lnTo>
                  <a:pt x="221933" y="476250"/>
                </a:lnTo>
                <a:cubicBezTo>
                  <a:pt x="208598" y="462915"/>
                  <a:pt x="208598" y="441008"/>
                  <a:pt x="221933" y="427673"/>
                </a:cubicBezTo>
                <a:lnTo>
                  <a:pt x="264795" y="384810"/>
                </a:lnTo>
                <a:cubicBezTo>
                  <a:pt x="278130" y="371475"/>
                  <a:pt x="300038" y="371475"/>
                  <a:pt x="313373" y="384810"/>
                </a:cubicBezTo>
                <a:lnTo>
                  <a:pt x="387668" y="459105"/>
                </a:lnTo>
                <a:cubicBezTo>
                  <a:pt x="393383" y="464820"/>
                  <a:pt x="403860" y="464820"/>
                  <a:pt x="409575" y="459105"/>
                </a:cubicBezTo>
                <a:lnTo>
                  <a:pt x="591503" y="277178"/>
                </a:lnTo>
                <a:cubicBezTo>
                  <a:pt x="604838" y="263843"/>
                  <a:pt x="626745" y="263843"/>
                  <a:pt x="640080" y="277178"/>
                </a:cubicBezTo>
                <a:lnTo>
                  <a:pt x="682943" y="320040"/>
                </a:lnTo>
                <a:cubicBezTo>
                  <a:pt x="696278" y="333375"/>
                  <a:pt x="696278" y="354330"/>
                  <a:pt x="682943" y="367665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CAB1CB70-1840-4490-AB2C-1784556B48CA}"/>
              </a:ext>
            </a:extLst>
          </p:cNvPr>
          <p:cNvSpPr/>
          <p:nvPr/>
        </p:nvSpPr>
        <p:spPr>
          <a:xfrm>
            <a:off x="4674330" y="3233458"/>
            <a:ext cx="336844" cy="336843"/>
          </a:xfrm>
          <a:custGeom>
            <a:avLst/>
            <a:gdLst>
              <a:gd name="connsiteX0" fmla="*/ 567690 w 903926"/>
              <a:gd name="connsiteY0" fmla="*/ 0 h 903922"/>
              <a:gd name="connsiteX1" fmla="*/ 337185 w 903926"/>
              <a:gd name="connsiteY1" fmla="*/ 0 h 903922"/>
              <a:gd name="connsiteX2" fmla="*/ 0 w 903926"/>
              <a:gd name="connsiteY2" fmla="*/ 337185 h 903922"/>
              <a:gd name="connsiteX3" fmla="*/ 0 w 903926"/>
              <a:gd name="connsiteY3" fmla="*/ 566738 h 903922"/>
              <a:gd name="connsiteX4" fmla="*/ 337185 w 903926"/>
              <a:gd name="connsiteY4" fmla="*/ 903923 h 903922"/>
              <a:gd name="connsiteX5" fmla="*/ 566738 w 903926"/>
              <a:gd name="connsiteY5" fmla="*/ 903923 h 903922"/>
              <a:gd name="connsiteX6" fmla="*/ 903923 w 903926"/>
              <a:gd name="connsiteY6" fmla="*/ 566738 h 903922"/>
              <a:gd name="connsiteX7" fmla="*/ 903923 w 903926"/>
              <a:gd name="connsiteY7" fmla="*/ 337185 h 903922"/>
              <a:gd name="connsiteX8" fmla="*/ 567690 w 903926"/>
              <a:gd name="connsiteY8" fmla="*/ 0 h 903922"/>
              <a:gd name="connsiteX9" fmla="*/ 682943 w 903926"/>
              <a:gd name="connsiteY9" fmla="*/ 367665 h 903922"/>
              <a:gd name="connsiteX10" fmla="*/ 422910 w 903926"/>
              <a:gd name="connsiteY10" fmla="*/ 628650 h 903922"/>
              <a:gd name="connsiteX11" fmla="*/ 374333 w 903926"/>
              <a:gd name="connsiteY11" fmla="*/ 628650 h 903922"/>
              <a:gd name="connsiteX12" fmla="*/ 221933 w 903926"/>
              <a:gd name="connsiteY12" fmla="*/ 476250 h 903922"/>
              <a:gd name="connsiteX13" fmla="*/ 221933 w 903926"/>
              <a:gd name="connsiteY13" fmla="*/ 427673 h 903922"/>
              <a:gd name="connsiteX14" fmla="*/ 264795 w 903926"/>
              <a:gd name="connsiteY14" fmla="*/ 384810 h 903922"/>
              <a:gd name="connsiteX15" fmla="*/ 313373 w 903926"/>
              <a:gd name="connsiteY15" fmla="*/ 384810 h 903922"/>
              <a:gd name="connsiteX16" fmla="*/ 387668 w 903926"/>
              <a:gd name="connsiteY16" fmla="*/ 459105 h 903922"/>
              <a:gd name="connsiteX17" fmla="*/ 409575 w 903926"/>
              <a:gd name="connsiteY17" fmla="*/ 459105 h 903922"/>
              <a:gd name="connsiteX18" fmla="*/ 591503 w 903926"/>
              <a:gd name="connsiteY18" fmla="*/ 277178 h 903922"/>
              <a:gd name="connsiteX19" fmla="*/ 640080 w 903926"/>
              <a:gd name="connsiteY19" fmla="*/ 277178 h 903922"/>
              <a:gd name="connsiteX20" fmla="*/ 682943 w 903926"/>
              <a:gd name="connsiteY20" fmla="*/ 320040 h 903922"/>
              <a:gd name="connsiteX21" fmla="*/ 682943 w 903926"/>
              <a:gd name="connsiteY21" fmla="*/ 367665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903926" h="903922">
                <a:moveTo>
                  <a:pt x="567690" y="0"/>
                </a:moveTo>
                <a:lnTo>
                  <a:pt x="337185" y="0"/>
                </a:lnTo>
                <a:cubicBezTo>
                  <a:pt x="151448" y="0"/>
                  <a:pt x="0" y="151448"/>
                  <a:pt x="0" y="337185"/>
                </a:cubicBezTo>
                <a:lnTo>
                  <a:pt x="0" y="566738"/>
                </a:lnTo>
                <a:cubicBezTo>
                  <a:pt x="0" y="752475"/>
                  <a:pt x="151448" y="903923"/>
                  <a:pt x="337185" y="903923"/>
                </a:cubicBezTo>
                <a:lnTo>
                  <a:pt x="566738" y="903923"/>
                </a:lnTo>
                <a:cubicBezTo>
                  <a:pt x="752475" y="903923"/>
                  <a:pt x="903923" y="752475"/>
                  <a:pt x="903923" y="566738"/>
                </a:cubicBezTo>
                <a:lnTo>
                  <a:pt x="903923" y="337185"/>
                </a:lnTo>
                <a:cubicBezTo>
                  <a:pt x="904875" y="151448"/>
                  <a:pt x="753428" y="0"/>
                  <a:pt x="567690" y="0"/>
                </a:cubicBezTo>
                <a:close/>
                <a:moveTo>
                  <a:pt x="682943" y="367665"/>
                </a:moveTo>
                <a:lnTo>
                  <a:pt x="422910" y="628650"/>
                </a:lnTo>
                <a:cubicBezTo>
                  <a:pt x="409575" y="641985"/>
                  <a:pt x="387668" y="641985"/>
                  <a:pt x="374333" y="628650"/>
                </a:cubicBezTo>
                <a:lnTo>
                  <a:pt x="221933" y="476250"/>
                </a:lnTo>
                <a:cubicBezTo>
                  <a:pt x="208598" y="462915"/>
                  <a:pt x="208598" y="441008"/>
                  <a:pt x="221933" y="427673"/>
                </a:cubicBezTo>
                <a:lnTo>
                  <a:pt x="264795" y="384810"/>
                </a:lnTo>
                <a:cubicBezTo>
                  <a:pt x="278130" y="371475"/>
                  <a:pt x="300038" y="371475"/>
                  <a:pt x="313373" y="384810"/>
                </a:cubicBezTo>
                <a:lnTo>
                  <a:pt x="387668" y="459105"/>
                </a:lnTo>
                <a:cubicBezTo>
                  <a:pt x="393383" y="464820"/>
                  <a:pt x="403860" y="464820"/>
                  <a:pt x="409575" y="459105"/>
                </a:cubicBezTo>
                <a:lnTo>
                  <a:pt x="591503" y="277178"/>
                </a:lnTo>
                <a:cubicBezTo>
                  <a:pt x="604838" y="263843"/>
                  <a:pt x="626745" y="263843"/>
                  <a:pt x="640080" y="277178"/>
                </a:cubicBezTo>
                <a:lnTo>
                  <a:pt x="682943" y="320040"/>
                </a:lnTo>
                <a:cubicBezTo>
                  <a:pt x="696278" y="333375"/>
                  <a:pt x="696278" y="354330"/>
                  <a:pt x="682943" y="367665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CD4DD4A7-028E-4526-932B-9A06BABF055E}"/>
              </a:ext>
            </a:extLst>
          </p:cNvPr>
          <p:cNvSpPr/>
          <p:nvPr/>
        </p:nvSpPr>
        <p:spPr>
          <a:xfrm>
            <a:off x="5846720" y="2547715"/>
            <a:ext cx="336844" cy="336843"/>
          </a:xfrm>
          <a:custGeom>
            <a:avLst/>
            <a:gdLst>
              <a:gd name="connsiteX0" fmla="*/ 567690 w 903926"/>
              <a:gd name="connsiteY0" fmla="*/ 0 h 903922"/>
              <a:gd name="connsiteX1" fmla="*/ 337185 w 903926"/>
              <a:gd name="connsiteY1" fmla="*/ 0 h 903922"/>
              <a:gd name="connsiteX2" fmla="*/ 0 w 903926"/>
              <a:gd name="connsiteY2" fmla="*/ 337185 h 903922"/>
              <a:gd name="connsiteX3" fmla="*/ 0 w 903926"/>
              <a:gd name="connsiteY3" fmla="*/ 566738 h 903922"/>
              <a:gd name="connsiteX4" fmla="*/ 337185 w 903926"/>
              <a:gd name="connsiteY4" fmla="*/ 903923 h 903922"/>
              <a:gd name="connsiteX5" fmla="*/ 566738 w 903926"/>
              <a:gd name="connsiteY5" fmla="*/ 903923 h 903922"/>
              <a:gd name="connsiteX6" fmla="*/ 903923 w 903926"/>
              <a:gd name="connsiteY6" fmla="*/ 566738 h 903922"/>
              <a:gd name="connsiteX7" fmla="*/ 903923 w 903926"/>
              <a:gd name="connsiteY7" fmla="*/ 337185 h 903922"/>
              <a:gd name="connsiteX8" fmla="*/ 567690 w 903926"/>
              <a:gd name="connsiteY8" fmla="*/ 0 h 903922"/>
              <a:gd name="connsiteX9" fmla="*/ 682943 w 903926"/>
              <a:gd name="connsiteY9" fmla="*/ 367665 h 903922"/>
              <a:gd name="connsiteX10" fmla="*/ 422910 w 903926"/>
              <a:gd name="connsiteY10" fmla="*/ 628650 h 903922"/>
              <a:gd name="connsiteX11" fmla="*/ 374333 w 903926"/>
              <a:gd name="connsiteY11" fmla="*/ 628650 h 903922"/>
              <a:gd name="connsiteX12" fmla="*/ 221933 w 903926"/>
              <a:gd name="connsiteY12" fmla="*/ 476250 h 903922"/>
              <a:gd name="connsiteX13" fmla="*/ 221933 w 903926"/>
              <a:gd name="connsiteY13" fmla="*/ 427673 h 903922"/>
              <a:gd name="connsiteX14" fmla="*/ 264795 w 903926"/>
              <a:gd name="connsiteY14" fmla="*/ 384810 h 903922"/>
              <a:gd name="connsiteX15" fmla="*/ 313373 w 903926"/>
              <a:gd name="connsiteY15" fmla="*/ 384810 h 903922"/>
              <a:gd name="connsiteX16" fmla="*/ 387668 w 903926"/>
              <a:gd name="connsiteY16" fmla="*/ 459105 h 903922"/>
              <a:gd name="connsiteX17" fmla="*/ 409575 w 903926"/>
              <a:gd name="connsiteY17" fmla="*/ 459105 h 903922"/>
              <a:gd name="connsiteX18" fmla="*/ 591503 w 903926"/>
              <a:gd name="connsiteY18" fmla="*/ 277178 h 903922"/>
              <a:gd name="connsiteX19" fmla="*/ 640080 w 903926"/>
              <a:gd name="connsiteY19" fmla="*/ 277178 h 903922"/>
              <a:gd name="connsiteX20" fmla="*/ 682943 w 903926"/>
              <a:gd name="connsiteY20" fmla="*/ 320040 h 903922"/>
              <a:gd name="connsiteX21" fmla="*/ 682943 w 903926"/>
              <a:gd name="connsiteY21" fmla="*/ 367665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903926" h="903922">
                <a:moveTo>
                  <a:pt x="567690" y="0"/>
                </a:moveTo>
                <a:lnTo>
                  <a:pt x="337185" y="0"/>
                </a:lnTo>
                <a:cubicBezTo>
                  <a:pt x="151448" y="0"/>
                  <a:pt x="0" y="151448"/>
                  <a:pt x="0" y="337185"/>
                </a:cubicBezTo>
                <a:lnTo>
                  <a:pt x="0" y="566738"/>
                </a:lnTo>
                <a:cubicBezTo>
                  <a:pt x="0" y="752475"/>
                  <a:pt x="151448" y="903923"/>
                  <a:pt x="337185" y="903923"/>
                </a:cubicBezTo>
                <a:lnTo>
                  <a:pt x="566738" y="903923"/>
                </a:lnTo>
                <a:cubicBezTo>
                  <a:pt x="752475" y="903923"/>
                  <a:pt x="903923" y="752475"/>
                  <a:pt x="903923" y="566738"/>
                </a:cubicBezTo>
                <a:lnTo>
                  <a:pt x="903923" y="337185"/>
                </a:lnTo>
                <a:cubicBezTo>
                  <a:pt x="904875" y="151448"/>
                  <a:pt x="753428" y="0"/>
                  <a:pt x="567690" y="0"/>
                </a:cubicBezTo>
                <a:close/>
                <a:moveTo>
                  <a:pt x="682943" y="367665"/>
                </a:moveTo>
                <a:lnTo>
                  <a:pt x="422910" y="628650"/>
                </a:lnTo>
                <a:cubicBezTo>
                  <a:pt x="409575" y="641985"/>
                  <a:pt x="387668" y="641985"/>
                  <a:pt x="374333" y="628650"/>
                </a:cubicBezTo>
                <a:lnTo>
                  <a:pt x="221933" y="476250"/>
                </a:lnTo>
                <a:cubicBezTo>
                  <a:pt x="208598" y="462915"/>
                  <a:pt x="208598" y="441008"/>
                  <a:pt x="221933" y="427673"/>
                </a:cubicBezTo>
                <a:lnTo>
                  <a:pt x="264795" y="384810"/>
                </a:lnTo>
                <a:cubicBezTo>
                  <a:pt x="278130" y="371475"/>
                  <a:pt x="300038" y="371475"/>
                  <a:pt x="313373" y="384810"/>
                </a:cubicBezTo>
                <a:lnTo>
                  <a:pt x="387668" y="459105"/>
                </a:lnTo>
                <a:cubicBezTo>
                  <a:pt x="393383" y="464820"/>
                  <a:pt x="403860" y="464820"/>
                  <a:pt x="409575" y="459105"/>
                </a:cubicBezTo>
                <a:lnTo>
                  <a:pt x="591503" y="277178"/>
                </a:lnTo>
                <a:cubicBezTo>
                  <a:pt x="604838" y="263843"/>
                  <a:pt x="626745" y="263843"/>
                  <a:pt x="640080" y="277178"/>
                </a:cubicBezTo>
                <a:lnTo>
                  <a:pt x="682943" y="320040"/>
                </a:lnTo>
                <a:cubicBezTo>
                  <a:pt x="696278" y="333375"/>
                  <a:pt x="696278" y="354330"/>
                  <a:pt x="682943" y="367665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03CAA4C1-E105-4CCC-80FF-A6D45C936F30}"/>
              </a:ext>
            </a:extLst>
          </p:cNvPr>
          <p:cNvSpPr/>
          <p:nvPr/>
        </p:nvSpPr>
        <p:spPr>
          <a:xfrm>
            <a:off x="7103350" y="3098524"/>
            <a:ext cx="336844" cy="336843"/>
          </a:xfrm>
          <a:custGeom>
            <a:avLst/>
            <a:gdLst>
              <a:gd name="connsiteX0" fmla="*/ 567690 w 903926"/>
              <a:gd name="connsiteY0" fmla="*/ 0 h 903922"/>
              <a:gd name="connsiteX1" fmla="*/ 337185 w 903926"/>
              <a:gd name="connsiteY1" fmla="*/ 0 h 903922"/>
              <a:gd name="connsiteX2" fmla="*/ 0 w 903926"/>
              <a:gd name="connsiteY2" fmla="*/ 337185 h 903922"/>
              <a:gd name="connsiteX3" fmla="*/ 0 w 903926"/>
              <a:gd name="connsiteY3" fmla="*/ 566738 h 903922"/>
              <a:gd name="connsiteX4" fmla="*/ 337185 w 903926"/>
              <a:gd name="connsiteY4" fmla="*/ 903923 h 903922"/>
              <a:gd name="connsiteX5" fmla="*/ 566738 w 903926"/>
              <a:gd name="connsiteY5" fmla="*/ 903923 h 903922"/>
              <a:gd name="connsiteX6" fmla="*/ 903923 w 903926"/>
              <a:gd name="connsiteY6" fmla="*/ 566738 h 903922"/>
              <a:gd name="connsiteX7" fmla="*/ 903923 w 903926"/>
              <a:gd name="connsiteY7" fmla="*/ 337185 h 903922"/>
              <a:gd name="connsiteX8" fmla="*/ 567690 w 903926"/>
              <a:gd name="connsiteY8" fmla="*/ 0 h 903922"/>
              <a:gd name="connsiteX9" fmla="*/ 682943 w 903926"/>
              <a:gd name="connsiteY9" fmla="*/ 367665 h 903922"/>
              <a:gd name="connsiteX10" fmla="*/ 422910 w 903926"/>
              <a:gd name="connsiteY10" fmla="*/ 628650 h 903922"/>
              <a:gd name="connsiteX11" fmla="*/ 374333 w 903926"/>
              <a:gd name="connsiteY11" fmla="*/ 628650 h 903922"/>
              <a:gd name="connsiteX12" fmla="*/ 221933 w 903926"/>
              <a:gd name="connsiteY12" fmla="*/ 476250 h 903922"/>
              <a:gd name="connsiteX13" fmla="*/ 221933 w 903926"/>
              <a:gd name="connsiteY13" fmla="*/ 427673 h 903922"/>
              <a:gd name="connsiteX14" fmla="*/ 264795 w 903926"/>
              <a:gd name="connsiteY14" fmla="*/ 384810 h 903922"/>
              <a:gd name="connsiteX15" fmla="*/ 313373 w 903926"/>
              <a:gd name="connsiteY15" fmla="*/ 384810 h 903922"/>
              <a:gd name="connsiteX16" fmla="*/ 387668 w 903926"/>
              <a:gd name="connsiteY16" fmla="*/ 459105 h 903922"/>
              <a:gd name="connsiteX17" fmla="*/ 409575 w 903926"/>
              <a:gd name="connsiteY17" fmla="*/ 459105 h 903922"/>
              <a:gd name="connsiteX18" fmla="*/ 591503 w 903926"/>
              <a:gd name="connsiteY18" fmla="*/ 277178 h 903922"/>
              <a:gd name="connsiteX19" fmla="*/ 640080 w 903926"/>
              <a:gd name="connsiteY19" fmla="*/ 277178 h 903922"/>
              <a:gd name="connsiteX20" fmla="*/ 682943 w 903926"/>
              <a:gd name="connsiteY20" fmla="*/ 320040 h 903922"/>
              <a:gd name="connsiteX21" fmla="*/ 682943 w 903926"/>
              <a:gd name="connsiteY21" fmla="*/ 367665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903926" h="903922">
                <a:moveTo>
                  <a:pt x="567690" y="0"/>
                </a:moveTo>
                <a:lnTo>
                  <a:pt x="337185" y="0"/>
                </a:lnTo>
                <a:cubicBezTo>
                  <a:pt x="151448" y="0"/>
                  <a:pt x="0" y="151448"/>
                  <a:pt x="0" y="337185"/>
                </a:cubicBezTo>
                <a:lnTo>
                  <a:pt x="0" y="566738"/>
                </a:lnTo>
                <a:cubicBezTo>
                  <a:pt x="0" y="752475"/>
                  <a:pt x="151448" y="903923"/>
                  <a:pt x="337185" y="903923"/>
                </a:cubicBezTo>
                <a:lnTo>
                  <a:pt x="566738" y="903923"/>
                </a:lnTo>
                <a:cubicBezTo>
                  <a:pt x="752475" y="903923"/>
                  <a:pt x="903923" y="752475"/>
                  <a:pt x="903923" y="566738"/>
                </a:cubicBezTo>
                <a:lnTo>
                  <a:pt x="903923" y="337185"/>
                </a:lnTo>
                <a:cubicBezTo>
                  <a:pt x="904875" y="151448"/>
                  <a:pt x="753428" y="0"/>
                  <a:pt x="567690" y="0"/>
                </a:cubicBezTo>
                <a:close/>
                <a:moveTo>
                  <a:pt x="682943" y="367665"/>
                </a:moveTo>
                <a:lnTo>
                  <a:pt x="422910" y="628650"/>
                </a:lnTo>
                <a:cubicBezTo>
                  <a:pt x="409575" y="641985"/>
                  <a:pt x="387668" y="641985"/>
                  <a:pt x="374333" y="628650"/>
                </a:cubicBezTo>
                <a:lnTo>
                  <a:pt x="221933" y="476250"/>
                </a:lnTo>
                <a:cubicBezTo>
                  <a:pt x="208598" y="462915"/>
                  <a:pt x="208598" y="441008"/>
                  <a:pt x="221933" y="427673"/>
                </a:cubicBezTo>
                <a:lnTo>
                  <a:pt x="264795" y="384810"/>
                </a:lnTo>
                <a:cubicBezTo>
                  <a:pt x="278130" y="371475"/>
                  <a:pt x="300038" y="371475"/>
                  <a:pt x="313373" y="384810"/>
                </a:cubicBezTo>
                <a:lnTo>
                  <a:pt x="387668" y="459105"/>
                </a:lnTo>
                <a:cubicBezTo>
                  <a:pt x="393383" y="464820"/>
                  <a:pt x="403860" y="464820"/>
                  <a:pt x="409575" y="459105"/>
                </a:cubicBezTo>
                <a:lnTo>
                  <a:pt x="591503" y="277178"/>
                </a:lnTo>
                <a:cubicBezTo>
                  <a:pt x="604838" y="263843"/>
                  <a:pt x="626745" y="263843"/>
                  <a:pt x="640080" y="277178"/>
                </a:cubicBezTo>
                <a:lnTo>
                  <a:pt x="682943" y="320040"/>
                </a:lnTo>
                <a:cubicBezTo>
                  <a:pt x="696278" y="333375"/>
                  <a:pt x="696278" y="354330"/>
                  <a:pt x="682943" y="367665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62E86FF4-4D9D-4430-BD6D-2089C796DC26}"/>
              </a:ext>
            </a:extLst>
          </p:cNvPr>
          <p:cNvSpPr/>
          <p:nvPr/>
        </p:nvSpPr>
        <p:spPr>
          <a:xfrm>
            <a:off x="7702534" y="4282368"/>
            <a:ext cx="336844" cy="336843"/>
          </a:xfrm>
          <a:custGeom>
            <a:avLst/>
            <a:gdLst>
              <a:gd name="connsiteX0" fmla="*/ 567690 w 903926"/>
              <a:gd name="connsiteY0" fmla="*/ 0 h 903922"/>
              <a:gd name="connsiteX1" fmla="*/ 337185 w 903926"/>
              <a:gd name="connsiteY1" fmla="*/ 0 h 903922"/>
              <a:gd name="connsiteX2" fmla="*/ 0 w 903926"/>
              <a:gd name="connsiteY2" fmla="*/ 337185 h 903922"/>
              <a:gd name="connsiteX3" fmla="*/ 0 w 903926"/>
              <a:gd name="connsiteY3" fmla="*/ 566738 h 903922"/>
              <a:gd name="connsiteX4" fmla="*/ 337185 w 903926"/>
              <a:gd name="connsiteY4" fmla="*/ 903923 h 903922"/>
              <a:gd name="connsiteX5" fmla="*/ 566738 w 903926"/>
              <a:gd name="connsiteY5" fmla="*/ 903923 h 903922"/>
              <a:gd name="connsiteX6" fmla="*/ 903923 w 903926"/>
              <a:gd name="connsiteY6" fmla="*/ 566738 h 903922"/>
              <a:gd name="connsiteX7" fmla="*/ 903923 w 903926"/>
              <a:gd name="connsiteY7" fmla="*/ 337185 h 903922"/>
              <a:gd name="connsiteX8" fmla="*/ 567690 w 903926"/>
              <a:gd name="connsiteY8" fmla="*/ 0 h 903922"/>
              <a:gd name="connsiteX9" fmla="*/ 682943 w 903926"/>
              <a:gd name="connsiteY9" fmla="*/ 367665 h 903922"/>
              <a:gd name="connsiteX10" fmla="*/ 422910 w 903926"/>
              <a:gd name="connsiteY10" fmla="*/ 628650 h 903922"/>
              <a:gd name="connsiteX11" fmla="*/ 374333 w 903926"/>
              <a:gd name="connsiteY11" fmla="*/ 628650 h 903922"/>
              <a:gd name="connsiteX12" fmla="*/ 221933 w 903926"/>
              <a:gd name="connsiteY12" fmla="*/ 476250 h 903922"/>
              <a:gd name="connsiteX13" fmla="*/ 221933 w 903926"/>
              <a:gd name="connsiteY13" fmla="*/ 427673 h 903922"/>
              <a:gd name="connsiteX14" fmla="*/ 264795 w 903926"/>
              <a:gd name="connsiteY14" fmla="*/ 384810 h 903922"/>
              <a:gd name="connsiteX15" fmla="*/ 313373 w 903926"/>
              <a:gd name="connsiteY15" fmla="*/ 384810 h 903922"/>
              <a:gd name="connsiteX16" fmla="*/ 387668 w 903926"/>
              <a:gd name="connsiteY16" fmla="*/ 459105 h 903922"/>
              <a:gd name="connsiteX17" fmla="*/ 409575 w 903926"/>
              <a:gd name="connsiteY17" fmla="*/ 459105 h 903922"/>
              <a:gd name="connsiteX18" fmla="*/ 591503 w 903926"/>
              <a:gd name="connsiteY18" fmla="*/ 277178 h 903922"/>
              <a:gd name="connsiteX19" fmla="*/ 640080 w 903926"/>
              <a:gd name="connsiteY19" fmla="*/ 277178 h 903922"/>
              <a:gd name="connsiteX20" fmla="*/ 682943 w 903926"/>
              <a:gd name="connsiteY20" fmla="*/ 320040 h 903922"/>
              <a:gd name="connsiteX21" fmla="*/ 682943 w 903926"/>
              <a:gd name="connsiteY21" fmla="*/ 367665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903926" h="903922">
                <a:moveTo>
                  <a:pt x="567690" y="0"/>
                </a:moveTo>
                <a:lnTo>
                  <a:pt x="337185" y="0"/>
                </a:lnTo>
                <a:cubicBezTo>
                  <a:pt x="151448" y="0"/>
                  <a:pt x="0" y="151448"/>
                  <a:pt x="0" y="337185"/>
                </a:cubicBezTo>
                <a:lnTo>
                  <a:pt x="0" y="566738"/>
                </a:lnTo>
                <a:cubicBezTo>
                  <a:pt x="0" y="752475"/>
                  <a:pt x="151448" y="903923"/>
                  <a:pt x="337185" y="903923"/>
                </a:cubicBezTo>
                <a:lnTo>
                  <a:pt x="566738" y="903923"/>
                </a:lnTo>
                <a:cubicBezTo>
                  <a:pt x="752475" y="903923"/>
                  <a:pt x="903923" y="752475"/>
                  <a:pt x="903923" y="566738"/>
                </a:cubicBezTo>
                <a:lnTo>
                  <a:pt x="903923" y="337185"/>
                </a:lnTo>
                <a:cubicBezTo>
                  <a:pt x="904875" y="151448"/>
                  <a:pt x="753428" y="0"/>
                  <a:pt x="567690" y="0"/>
                </a:cubicBezTo>
                <a:close/>
                <a:moveTo>
                  <a:pt x="682943" y="367665"/>
                </a:moveTo>
                <a:lnTo>
                  <a:pt x="422910" y="628650"/>
                </a:lnTo>
                <a:cubicBezTo>
                  <a:pt x="409575" y="641985"/>
                  <a:pt x="387668" y="641985"/>
                  <a:pt x="374333" y="628650"/>
                </a:cubicBezTo>
                <a:lnTo>
                  <a:pt x="221933" y="476250"/>
                </a:lnTo>
                <a:cubicBezTo>
                  <a:pt x="208598" y="462915"/>
                  <a:pt x="208598" y="441008"/>
                  <a:pt x="221933" y="427673"/>
                </a:cubicBezTo>
                <a:lnTo>
                  <a:pt x="264795" y="384810"/>
                </a:lnTo>
                <a:cubicBezTo>
                  <a:pt x="278130" y="371475"/>
                  <a:pt x="300038" y="371475"/>
                  <a:pt x="313373" y="384810"/>
                </a:cubicBezTo>
                <a:lnTo>
                  <a:pt x="387668" y="459105"/>
                </a:lnTo>
                <a:cubicBezTo>
                  <a:pt x="393383" y="464820"/>
                  <a:pt x="403860" y="464820"/>
                  <a:pt x="409575" y="459105"/>
                </a:cubicBezTo>
                <a:lnTo>
                  <a:pt x="591503" y="277178"/>
                </a:lnTo>
                <a:cubicBezTo>
                  <a:pt x="604838" y="263843"/>
                  <a:pt x="626745" y="263843"/>
                  <a:pt x="640080" y="277178"/>
                </a:cubicBezTo>
                <a:lnTo>
                  <a:pt x="682943" y="320040"/>
                </a:lnTo>
                <a:cubicBezTo>
                  <a:pt x="696278" y="333375"/>
                  <a:pt x="696278" y="354330"/>
                  <a:pt x="682943" y="367665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747298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00007D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ARTICULATE_DESIGN_ID_OFFICE THEME" val="syyYgZJJ"/>
  <p:tag name="ARTICULATE_SLIDE_COUNT" val="19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Infographics">
      <a:dk1>
        <a:sysClr val="windowText" lastClr="000000"/>
      </a:dk1>
      <a:lt1>
        <a:sysClr val="window" lastClr="FFFFFF"/>
      </a:lt1>
      <a:dk2>
        <a:srgbClr val="58595B"/>
      </a:dk2>
      <a:lt2>
        <a:srgbClr val="F1F2F2"/>
      </a:lt2>
      <a:accent1>
        <a:srgbClr val="00007D"/>
      </a:accent1>
      <a:accent2>
        <a:srgbClr val="1428A0"/>
      </a:accent2>
      <a:accent3>
        <a:srgbClr val="0077C8"/>
      </a:accent3>
      <a:accent4>
        <a:srgbClr val="00B3E3"/>
      </a:accent4>
      <a:accent5>
        <a:srgbClr val="00C3B2"/>
      </a:accent5>
      <a:accent6>
        <a:srgbClr val="97D653"/>
      </a:accent6>
      <a:hlink>
        <a:srgbClr val="00007D"/>
      </a:hlink>
      <a:folHlink>
        <a:srgbClr val="00007D"/>
      </a:folHlink>
    </a:clrScheme>
    <a:fontScheme name="Custom 157">
      <a:majorFont>
        <a:latin typeface="Tahoma bold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0">
    <wetp:webextensionref xmlns:r="http://schemas.openxmlformats.org/officeDocument/2006/relationships" r:id="rId1"/>
  </wetp:taskpane>
  <wetp:taskpane dockstate="right" visibility="0" width="350" row="9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4F0DB6AD-AA6A-49C8-9264-101355AEA7B2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62E04DD-50D8-4D76-9848-6555A8D2B5D4}">
  <we:reference id="wa200001396" version="2.1.6.0" store="en-001" storeType="OMEX"/>
  <we:alternateReferences>
    <we:reference id="wa200001396" version="2.1.6.0" store="en-001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20190</TotalTime>
  <Words>89</Words>
  <Application>Microsoft Office PowerPoint</Application>
  <PresentationFormat>Widescreen</PresentationFormat>
  <Paragraphs>12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Tahoma</vt:lpstr>
      <vt:lpstr>Tahoma bold</vt:lpstr>
      <vt:lpstr>Office Theme</vt:lpstr>
      <vt:lpstr>Slide Title He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monir</dc:creator>
  <cp:lastModifiedBy>andrew monir</cp:lastModifiedBy>
  <cp:revision>529</cp:revision>
  <dcterms:created xsi:type="dcterms:W3CDTF">2020-11-27T23:09:27Z</dcterms:created>
  <dcterms:modified xsi:type="dcterms:W3CDTF">2021-04-06T18:46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BB15136-D798-4488-8D6D-3187EBF00F3F</vt:lpwstr>
  </property>
  <property fmtid="{D5CDD505-2E9C-101B-9397-08002B2CF9AE}" pid="3" name="ArticulatePath">
    <vt:lpwstr>https://d.docs.live.net/a32d64b1d32ea93c/Infographics/Infographics/Master file</vt:lpwstr>
  </property>
</Properties>
</file>